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</p:sldMasterIdLst>
  <p:notesMasterIdLst>
    <p:notesMasterId r:id="rId15"/>
  </p:notesMasterIdLst>
  <p:handoutMasterIdLst>
    <p:handoutMasterId r:id="rId16"/>
  </p:handoutMasterIdLst>
  <p:sldIdLst>
    <p:sldId id="369" r:id="rId5"/>
    <p:sldId id="381" r:id="rId6"/>
    <p:sldId id="370" r:id="rId7"/>
    <p:sldId id="382" r:id="rId8"/>
    <p:sldId id="373" r:id="rId9"/>
    <p:sldId id="377" r:id="rId10"/>
    <p:sldId id="376" r:id="rId11"/>
    <p:sldId id="378" r:id="rId12"/>
    <p:sldId id="379" r:id="rId13"/>
    <p:sldId id="380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72" autoAdjust="0"/>
    <p:restoredTop sz="95289" autoAdjust="0"/>
  </p:normalViewPr>
  <p:slideViewPr>
    <p:cSldViewPr snapToGrid="0">
      <p:cViewPr varScale="1">
        <p:scale>
          <a:sx n="81" d="100"/>
          <a:sy n="81" d="100"/>
        </p:scale>
        <p:origin x="65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5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5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2AB2EC5-0DE6-7035-38F7-42BEAA0746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FG-43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F2F3F4"/>
                </a:solidFill>
                <a:effectLst/>
              </a:rPr>
              <a:t>Dimensional Confluence: Enhancing Ideation and design review in Metaverse-Enabled Design Studios</a:t>
            </a:r>
            <a:endParaRPr lang="en-GB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rgbClr val="F2F3F4"/>
                </a:solidFill>
                <a:latin typeface="+mn-lt"/>
              </a:rPr>
              <a:t>BMW  virtual </a:t>
            </a:r>
            <a:r>
              <a:rPr lang="en-US" b="0" i="0" dirty="0">
                <a:solidFill>
                  <a:srgbClr val="F2F3F4"/>
                </a:solidFill>
                <a:effectLst/>
                <a:latin typeface="+mn-lt"/>
              </a:rPr>
              <a:t>Design Hub</a:t>
            </a:r>
            <a:endParaRPr lang="en-GB" dirty="0">
              <a:latin typeface="+mn-lt"/>
            </a:endParaRPr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B5AF76F6-8AAF-D2FB-081B-14FC6DBB0106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E2585F21-699B-33BB-7BA5-95ECD659452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0615E5E-07D8-BEC6-42EE-1B0BA527666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DF741A-16B4-08FF-980E-620E19CA1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12875"/>
            <a:ext cx="12202578" cy="833663"/>
          </a:xfrm>
        </p:spPr>
        <p:txBody>
          <a:bodyPr/>
          <a:lstStyle/>
          <a:p>
            <a:r>
              <a:rPr lang="en-US" dirty="0"/>
              <a:t>Thankyou</a:t>
            </a:r>
          </a:p>
        </p:txBody>
      </p:sp>
    </p:spTree>
    <p:extLst>
      <p:ext uri="{BB962C8B-B14F-4D97-AF65-F5344CB8AC3E}">
        <p14:creationId xmlns:p14="http://schemas.microsoft.com/office/powerpoint/2010/main" val="635851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B3C3E5D-48CB-2AD6-410C-7930C4FABD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DDA8DD-BEAA-A411-8CE2-2426237C48A1}"/>
              </a:ext>
            </a:extLst>
          </p:cNvPr>
          <p:cNvSpPr txBox="1"/>
          <p:nvPr/>
        </p:nvSpPr>
        <p:spPr>
          <a:xfrm>
            <a:off x="1097280" y="2047309"/>
            <a:ext cx="10523458" cy="184665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bg1"/>
                </a:solidFill>
                <a:effectLst/>
              </a:rPr>
              <a:t>Dimensional Confluence: Enhancing Ideation and Design Review in Metaverse-Enabled Design Studios</a:t>
            </a:r>
            <a:endParaRPr lang="en-GB" sz="2000" b="0" i="0" dirty="0">
              <a:solidFill>
                <a:schemeClr val="bg1"/>
              </a:solidFill>
              <a:effectLst/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BMW  virtual </a:t>
            </a:r>
            <a:r>
              <a:rPr lang="en-US" sz="2000" b="0" i="0" dirty="0">
                <a:solidFill>
                  <a:schemeClr val="bg1"/>
                </a:solidFill>
                <a:effectLst/>
              </a:rPr>
              <a:t>Design Hub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User Requir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Usecase</a:t>
            </a:r>
            <a:r>
              <a:rPr lang="en-US" sz="2000" dirty="0">
                <a:solidFill>
                  <a:schemeClr val="bg1"/>
                </a:solidFill>
              </a:rPr>
              <a:t> specific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User Stud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Evaluation</a:t>
            </a:r>
            <a:endParaRPr lang="en-US" sz="2000" kern="1200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4AC4B7-815F-FB8B-E900-2855C597FB0D}"/>
              </a:ext>
            </a:extLst>
          </p:cNvPr>
          <p:cNvSpPr txBox="1"/>
          <p:nvPr/>
        </p:nvSpPr>
        <p:spPr>
          <a:xfrm>
            <a:off x="1188720" y="758381"/>
            <a:ext cx="4285660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Table of content</a:t>
            </a:r>
            <a:endParaRPr lang="en-US" sz="5400" kern="12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5236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9F5347-08C0-AC21-8152-5DFCD3C0FA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422302"/>
            <a:ext cx="6369154" cy="2215991"/>
          </a:xfrm>
        </p:spPr>
        <p:txBody>
          <a:bodyPr/>
          <a:lstStyle/>
          <a:p>
            <a:r>
              <a:rPr lang="en-US" dirty="0"/>
              <a:t>User Requiremen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338D17-16E5-6761-0E7F-4F7B4BAB12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E66BFE-42C1-CECF-E827-9FF7D5197D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3196" y="3589039"/>
            <a:ext cx="6374130" cy="184665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674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9F867E-D895-4646-24FD-50B62E27B2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BC69CC-E307-907F-50BB-3C4380E1F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4695B0-C946-FC07-6A97-93C3E8E721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3405"/>
            <a:ext cx="12192000" cy="5351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4028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1FE8A5B-903B-1B9F-282B-A49F3958FC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1D562-462A-9E66-3BD3-F124D589C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5289" y="232027"/>
            <a:ext cx="12202578" cy="833663"/>
          </a:xfrm>
        </p:spPr>
        <p:txBody>
          <a:bodyPr/>
          <a:lstStyle/>
          <a:p>
            <a:r>
              <a:rPr lang="en-US" dirty="0" err="1"/>
              <a:t>Usecase</a:t>
            </a:r>
            <a:r>
              <a:rPr lang="en-US" dirty="0"/>
              <a:t> spec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987932-8557-92DC-BDC5-285E08BF92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1257" y="1297717"/>
            <a:ext cx="4369485" cy="428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255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1DBEC74-D586-FA80-F588-A4BE8E6B95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7971A7-AA87-638E-1EA5-3FEC78405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097204-4F5D-E42D-6926-8D178F42BC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79" y="0"/>
            <a:ext cx="10278099" cy="6561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350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5FE630A6-9481-B081-5002-346BBC89D4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1B3A3C-6E6F-05B8-1AA9-B7948AC63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4BE6AC-2D57-79D8-244F-E0463C2198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2995" y="0"/>
            <a:ext cx="5226009" cy="6571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645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EB982E1-BA98-BC71-99D2-56642D1A08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2C08F9-78FA-2615-1317-D0F1FC243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41375"/>
            <a:ext cx="12202578" cy="833663"/>
          </a:xfrm>
        </p:spPr>
        <p:txBody>
          <a:bodyPr/>
          <a:lstStyle/>
          <a:p>
            <a:r>
              <a:rPr lang="en-US" dirty="0"/>
              <a:t>User Study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B2295D-45B7-E523-EAE5-D19F93986A2D}"/>
              </a:ext>
            </a:extLst>
          </p:cNvPr>
          <p:cNvSpPr txBox="1"/>
          <p:nvPr/>
        </p:nvSpPr>
        <p:spPr>
          <a:xfrm>
            <a:off x="562928" y="2106067"/>
            <a:ext cx="968978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b="0" i="0" dirty="0">
                <a:solidFill>
                  <a:schemeClr val="bg1"/>
                </a:solidFill>
                <a:effectLst/>
              </a:rPr>
              <a:t>Walkthrough Method </a:t>
            </a:r>
          </a:p>
          <a:p>
            <a:pPr algn="l"/>
            <a:r>
              <a:rPr lang="en-US" sz="2000" b="0" i="0" dirty="0">
                <a:solidFill>
                  <a:schemeClr val="bg1"/>
                </a:solidFill>
                <a:effectLst/>
              </a:rPr>
              <a:t>- Evaluate Final </a:t>
            </a:r>
            <a:r>
              <a:rPr lang="en-US" sz="2000" dirty="0">
                <a:solidFill>
                  <a:schemeClr val="bg1"/>
                </a:solidFill>
              </a:rPr>
              <a:t>Application </a:t>
            </a:r>
            <a:endParaRPr lang="en-US" sz="2000" b="0" i="0" dirty="0">
              <a:solidFill>
                <a:schemeClr val="bg1"/>
              </a:solidFill>
              <a:effectLst/>
            </a:endParaRPr>
          </a:p>
          <a:p>
            <a:pPr algn="l"/>
            <a:r>
              <a:rPr lang="en-US" sz="2000" b="0" i="0" dirty="0">
                <a:solidFill>
                  <a:schemeClr val="bg1"/>
                </a:solidFill>
                <a:effectLst/>
              </a:rPr>
              <a:t>- System Usability Scale (SUS): measure subjective usability of products and services</a:t>
            </a:r>
          </a:p>
          <a:p>
            <a:pPr algn="l"/>
            <a:r>
              <a:rPr lang="en-US" sz="2000" b="0" i="0" dirty="0">
                <a:solidFill>
                  <a:schemeClr val="bg1"/>
                </a:solidFill>
                <a:effectLst/>
              </a:rPr>
              <a:t>- User Experience Questionnaire (UEQ)</a:t>
            </a:r>
          </a:p>
          <a:p>
            <a:pPr algn="l"/>
            <a:r>
              <a:rPr lang="en-US" sz="2000" b="0" i="0" dirty="0">
                <a:solidFill>
                  <a:schemeClr val="bg1"/>
                </a:solidFill>
                <a:effectLst/>
              </a:rPr>
              <a:t>- Semi-structured interviews</a:t>
            </a:r>
          </a:p>
        </p:txBody>
      </p:sp>
    </p:spTree>
    <p:extLst>
      <p:ext uri="{BB962C8B-B14F-4D97-AF65-F5344CB8AC3E}">
        <p14:creationId xmlns:p14="http://schemas.microsoft.com/office/powerpoint/2010/main" val="3971804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504908F-50DE-0199-FD09-261BA556A3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F8FD29-C7D3-5C01-52B9-F1A73ADD0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12875"/>
            <a:ext cx="12202578" cy="833663"/>
          </a:xfrm>
        </p:spPr>
        <p:txBody>
          <a:bodyPr/>
          <a:lstStyle/>
          <a:p>
            <a:r>
              <a:rPr lang="en-US" dirty="0"/>
              <a:t>Conclusion &amp; </a:t>
            </a:r>
            <a:r>
              <a:rPr lang="en-US" dirty="0" err="1"/>
              <a:t>future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87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LANK - Logo Legibility_2.pptx" id="{8B48DFBA-F3A5-47FE-8116-0F152EAA5068}" vid="{EF0C07A0-9125-4B0E-9BCC-C6F86E73A63D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6efc58d-653a-435a-a55c-60d45d00242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9993A762392440B9D7FE02FB1F1C7C" ma:contentTypeVersion="16" ma:contentTypeDescription="Ein neues Dokument erstellen." ma:contentTypeScope="" ma:versionID="ed77a446ac7d60fe5a69fa4d73ba1b77">
  <xsd:schema xmlns:xsd="http://www.w3.org/2001/XMLSchema" xmlns:xs="http://www.w3.org/2001/XMLSchema" xmlns:p="http://schemas.microsoft.com/office/2006/metadata/properties" xmlns:ns3="46efc58d-653a-435a-a55c-60d45d002427" xmlns:ns4="3b59e19a-dcf5-4e1f-af4e-97f1615661ef" targetNamespace="http://schemas.microsoft.com/office/2006/metadata/properties" ma:root="true" ma:fieldsID="b74ede8119b22f6c97fe5b2520984cd4" ns3:_="" ns4:_="">
    <xsd:import namespace="46efc58d-653a-435a-a55c-60d45d002427"/>
    <xsd:import namespace="3b59e19a-dcf5-4e1f-af4e-97f1615661e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efc58d-653a-435a-a55c-60d45d0024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59e19a-dcf5-4e1f-af4e-97f1615661e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CFCD65-5E41-44CF-873A-DAEC5C00A6EC}">
  <ds:schemaRefs>
    <ds:schemaRef ds:uri="http://purl.org/dc/terms/"/>
    <ds:schemaRef ds:uri="3b59e19a-dcf5-4e1f-af4e-97f1615661e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46efc58d-653a-435a-a55c-60d45d00242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F058727-59DB-4643-ABA9-B264DCEFD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D519ED-7C02-4C6F-ADF5-8A862159DB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efc58d-653a-435a-a55c-60d45d002427"/>
    <ds:schemaRef ds:uri="3b59e19a-dcf5-4e1f-af4e-97f1615661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4</Words>
  <Application>Microsoft Office PowerPoint</Application>
  <PresentationFormat>Widescreen</PresentationFormat>
  <Paragraphs>21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Dimensional Confluence: Enhancing Ideation and design review in Metaverse-Enabled Design Studios</vt:lpstr>
      <vt:lpstr>PowerPoint Presentation</vt:lpstr>
      <vt:lpstr>PowerPoint Presentation</vt:lpstr>
      <vt:lpstr>PowerPoint Presentation</vt:lpstr>
      <vt:lpstr>Usecase specification</vt:lpstr>
      <vt:lpstr>PowerPoint Presentation</vt:lpstr>
      <vt:lpstr>PowerPoint Presentation</vt:lpstr>
      <vt:lpstr>User Study </vt:lpstr>
      <vt:lpstr>Conclusion &amp; futurework</vt:lpstr>
      <vt:lpstr>Thank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mensional Confluence: Enhancing Ideation and design review in Metaverse-Enabled Design Studios</dc:title>
  <dc:creator>Liudongnan Yang</dc:creator>
  <cp:lastModifiedBy>Liudongnan Yang</cp:lastModifiedBy>
  <cp:revision>1</cp:revision>
  <dcterms:created xsi:type="dcterms:W3CDTF">2024-06-05T08:30:44Z</dcterms:created>
  <dcterms:modified xsi:type="dcterms:W3CDTF">2024-06-05T12:0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9993A762392440B9D7FE02FB1F1C7C</vt:lpwstr>
  </property>
</Properties>
</file>